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1"/>
    <p:sldMasterId id="2147483673" r:id="rId2"/>
  </p:sldMasterIdLst>
  <p:notesMasterIdLst>
    <p:notesMasterId r:id="rId7"/>
  </p:notesMasterIdLst>
  <p:handoutMasterIdLst>
    <p:handoutMasterId r:id="rId8"/>
  </p:handoutMasterIdLst>
  <p:sldIdLst>
    <p:sldId id="316" r:id="rId3"/>
    <p:sldId id="330" r:id="rId4"/>
    <p:sldId id="331" r:id="rId5"/>
    <p:sldId id="332" r:id="rId6"/>
  </p:sldIdLst>
  <p:sldSz cx="9144000" cy="6858000" type="screen4x3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86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3120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782" userDrawn="1">
          <p15:clr>
            <a:srgbClr val="A4A3A4"/>
          </p15:clr>
        </p15:guide>
        <p15:guide id="6" orient="horz" pos="2340" userDrawn="1">
          <p15:clr>
            <a:srgbClr val="A4A3A4"/>
          </p15:clr>
        </p15:guide>
        <p15:guide id="7" pos="5088" userDrawn="1">
          <p15:clr>
            <a:srgbClr val="A4A3A4"/>
          </p15:clr>
        </p15:guide>
        <p15:guide id="8" pos="2400" userDrawn="1">
          <p15:clr>
            <a:srgbClr val="A4A3A4"/>
          </p15:clr>
        </p15:guide>
        <p15:guide id="9" orient="horz" pos="2158">
          <p15:clr>
            <a:srgbClr val="A4A3A4"/>
          </p15:clr>
        </p15:guide>
        <p15:guide id="10" orient="horz" pos="840">
          <p15:clr>
            <a:srgbClr val="A4A3A4"/>
          </p15:clr>
        </p15:guide>
        <p15:guide id="11" orient="horz" pos="672">
          <p15:clr>
            <a:srgbClr val="A4A3A4"/>
          </p15:clr>
        </p15:guide>
        <p15:guide id="12" orient="horz" pos="216">
          <p15:clr>
            <a:srgbClr val="A4A3A4"/>
          </p15:clr>
        </p15:guide>
        <p15:guide id="13" pos="4685">
          <p15:clr>
            <a:srgbClr val="A4A3A4"/>
          </p15:clr>
        </p15:guide>
        <p15:guide id="14" pos="5559">
          <p15:clr>
            <a:srgbClr val="A4A3A4"/>
          </p15:clr>
        </p15:guide>
        <p15:guide id="15" pos="200">
          <p15:clr>
            <a:srgbClr val="A4A3A4"/>
          </p15:clr>
        </p15:guide>
        <p15:guide id="16" pos="1550">
          <p15:clr>
            <a:srgbClr val="A4A3A4"/>
          </p15:clr>
        </p15:guide>
        <p15:guide id="17" pos="42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767552" initials="A" lastIdx="14" clrIdx="0"/>
  <p:cmAuthor id="1" name="Jeffrey Oddo" initials="JO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C0C0"/>
    <a:srgbClr val="414141"/>
    <a:srgbClr val="AA0061"/>
    <a:srgbClr val="D20962"/>
    <a:srgbClr val="E46B95"/>
    <a:srgbClr val="E5B2CF"/>
    <a:srgbClr val="00859B"/>
    <a:srgbClr val="00A78E"/>
    <a:srgbClr val="66CABB"/>
    <a:srgbClr val="B2DA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9593" autoAdjust="0"/>
  </p:normalViewPr>
  <p:slideViewPr>
    <p:cSldViewPr snapToGrid="0" snapToObjects="1">
      <p:cViewPr>
        <p:scale>
          <a:sx n="90" d="100"/>
          <a:sy n="90" d="100"/>
        </p:scale>
        <p:origin x="610" y="-355"/>
      </p:cViewPr>
      <p:guideLst>
        <p:guide orient="horz" pos="2286"/>
        <p:guide pos="2880"/>
        <p:guide pos="3120"/>
        <p:guide orient="horz" pos="3888"/>
        <p:guide orient="horz" pos="3782"/>
        <p:guide orient="horz" pos="2340"/>
        <p:guide pos="5088"/>
        <p:guide pos="2400"/>
        <p:guide orient="horz" pos="2158"/>
        <p:guide orient="horz" pos="840"/>
        <p:guide orient="horz" pos="672"/>
        <p:guide orient="horz" pos="216"/>
        <p:guide pos="4685"/>
        <p:guide pos="5559"/>
        <p:guide pos="200"/>
        <p:guide pos="1550"/>
        <p:guide pos="42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666718-0C99-FE43-99C3-35EC6387CCC0}" type="datetimeFigureOut">
              <a:rPr lang="en-US" smtClean="0"/>
              <a:t>09/0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C29365-4ED7-4B49-82D9-92CD6B538A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7180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ABCF7F-C129-704C-961D-1546340879BE}" type="datetimeFigureOut">
              <a:rPr lang="en-US" smtClean="0"/>
              <a:t>09/0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163757-1D20-ED4F-BE1E-2A4F3CD041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598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 | Prefer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350553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26911" y="4548186"/>
            <a:ext cx="509709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4400" b="1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27276" y="5821809"/>
            <a:ext cx="3896359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</a:t>
            </a:r>
            <a:r>
              <a:rPr lang="en-US" dirty="0" smtClean="0"/>
              <a:t>subtit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850423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0" y="1330325"/>
            <a:ext cx="8487737" cy="4846320"/>
          </a:xfrm>
        </p:spPr>
        <p:txBody>
          <a:bodyPr/>
          <a:lstStyle>
            <a:lvl1pPr>
              <a:spcBef>
                <a:spcPts val="600"/>
              </a:spcBef>
              <a:defRPr sz="140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 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850423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0" y="1330324"/>
            <a:ext cx="2939937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2" y="320040"/>
            <a:ext cx="8504236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1" y="1330324"/>
            <a:ext cx="2940898" cy="4846320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850423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 Impact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325940"/>
            <a:ext cx="9144000" cy="532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 smtClean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  <p:pic>
        <p:nvPicPr>
          <p:cNvPr id="14" name="Picture 13" descr="White (transparent background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1042" y="6431995"/>
            <a:ext cx="493776" cy="137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8488089" cy="731520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  <p:sp>
        <p:nvSpPr>
          <p:cNvPr id="12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800" dirty="0" smtClean="0">
                <a:solidFill>
                  <a:srgbClr val="FFFFFF"/>
                </a:solidFill>
              </a:rPr>
              <a:t>Consumer Health &amp; Servic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3886236" y="6514856"/>
            <a:ext cx="135061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Strictly</a:t>
            </a:r>
            <a:r>
              <a:rPr lang="en-US" sz="800" baseline="0" dirty="0" smtClean="0">
                <a:solidFill>
                  <a:srgbClr val="FFFFFF"/>
                </a:solidFill>
              </a:rPr>
              <a:t> confidential</a:t>
            </a:r>
            <a:endParaRPr lang="tr-TR" sz="800" dirty="0" smtClean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846178" y="0"/>
            <a:ext cx="2297822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6337083" cy="731520"/>
          </a:xfrm>
        </p:spPr>
        <p:txBody>
          <a:bodyPr anchor="ctr"/>
          <a:lstStyle>
            <a:lvl1pPr>
              <a:defRPr sz="2400" b="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0" y="1330324"/>
            <a:ext cx="6334136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6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6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632764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846178" y="0"/>
            <a:ext cx="2297822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6337083" cy="731520"/>
          </a:xfrm>
        </p:spPr>
        <p:txBody>
          <a:bodyPr anchor="ctr"/>
          <a:lstStyle>
            <a:lvl1pPr>
              <a:defRPr sz="2400" b="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30324"/>
            <a:ext cx="6333953" cy="4846320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 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632764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4"/>
            <a:ext cx="9143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5844" y="455613"/>
            <a:ext cx="8473504" cy="5911850"/>
          </a:xfrm>
        </p:spPr>
        <p:txBody>
          <a:bodyPr anchor="ctr"/>
          <a:lstStyle>
            <a:lvl1pPr algn="ctr">
              <a:lnSpc>
                <a:spcPct val="80000"/>
              </a:lnSpc>
              <a:defRPr sz="7202" b="1">
                <a:solidFill>
                  <a:schemeClr val="bg1"/>
                </a:solidFill>
                <a:latin typeface="Domaine Display Bold"/>
                <a:cs typeface="Domaine Display Bold"/>
              </a:defRPr>
            </a:lvl1pPr>
          </a:lstStyle>
          <a:p>
            <a:r>
              <a:rPr lang="en-US" dirty="0" smtClean="0"/>
              <a:t>Closing 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3095" y="6292904"/>
            <a:ext cx="926409" cy="232776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3095" y="6292904"/>
            <a:ext cx="926409" cy="232776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350553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26911" y="4548186"/>
            <a:ext cx="509709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4400" b="1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27276" y="5821809"/>
            <a:ext cx="3896359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</a:t>
            </a: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8501698" cy="731610"/>
          </a:xfrm>
        </p:spPr>
        <p:txBody>
          <a:bodyPr anchor="ctr"/>
          <a:lstStyle>
            <a:lvl1pPr>
              <a:defRPr sz="2400">
                <a:solidFill>
                  <a:srgbClr val="7D3F98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25880"/>
            <a:ext cx="8497644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8470862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39" y="1325880"/>
            <a:ext cx="8459711" cy="4846320"/>
          </a:xfrm>
        </p:spPr>
        <p:txBody>
          <a:bodyPr/>
          <a:lstStyle>
            <a:lvl1pPr>
              <a:spcBef>
                <a:spcPts val="600"/>
              </a:spcBef>
              <a:defRPr sz="140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 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84708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02920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4115872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25880"/>
            <a:ext cx="4115872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" y="1051560"/>
            <a:ext cx="438912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502920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4115872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25880"/>
            <a:ext cx="4115872" cy="4846320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438912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Text | ImageL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66046" y="320040"/>
            <a:ext cx="4237346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1" y="1325880"/>
            <a:ext cx="4239729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68694" y="1051560"/>
            <a:ext cx="425780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2017 Aetna Inc.</a:t>
            </a:r>
            <a:endParaRPr lang="en-US" sz="80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Header | Text | ImageLFT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66045" y="320040"/>
            <a:ext cx="4243302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1" y="1325880"/>
            <a:ext cx="4236157" cy="4846320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68694" y="1051560"/>
            <a:ext cx="424065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2017 Aetna Inc.</a:t>
            </a:r>
            <a:endParaRPr lang="en-US" sz="80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200400" y="0"/>
            <a:ext cx="59436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35845" y="455613"/>
            <a:ext cx="2394880" cy="5932487"/>
          </a:xfrm>
        </p:spPr>
        <p:txBody>
          <a:bodyPr anchor="ctr"/>
          <a:lstStyle>
            <a:lvl1pPr algn="ctr">
              <a:lnSpc>
                <a:spcPts val="3001"/>
              </a:lnSpc>
              <a:defRPr sz="2000" b="1">
                <a:solidFill>
                  <a:schemeClr val="accent2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001"/>
              </a:lnSpc>
              <a:buFontTx/>
              <a:buNone/>
              <a:defRPr sz="4051">
                <a:solidFill>
                  <a:schemeClr val="accent2"/>
                </a:solidFill>
              </a:defRPr>
            </a:lvl2pPr>
            <a:lvl3pPr marL="5955" indent="0" algn="ctr">
              <a:lnSpc>
                <a:spcPts val="300"/>
              </a:lnSpc>
              <a:spcBef>
                <a:spcPts val="450"/>
              </a:spcBef>
              <a:buNone/>
              <a:tabLst>
                <a:tab pos="901544" algn="l"/>
              </a:tabLst>
              <a:defRPr sz="1050">
                <a:solidFill>
                  <a:schemeClr val="accent2"/>
                </a:solidFill>
              </a:defRPr>
            </a:lvl3pPr>
            <a:lvl4pPr marL="5955" indent="0" algn="ctr">
              <a:lnSpc>
                <a:spcPct val="100000"/>
              </a:lnSpc>
              <a:spcBef>
                <a:spcPts val="225"/>
              </a:spcBef>
              <a:buNone/>
              <a:tabLst>
                <a:tab pos="901544" algn="l"/>
              </a:tabLst>
              <a:defRPr sz="1050">
                <a:solidFill>
                  <a:schemeClr val="accent2"/>
                </a:solidFill>
              </a:defRPr>
            </a:lvl4pPr>
          </a:lstStyle>
          <a:p>
            <a:pPr lvl="0"/>
            <a:r>
              <a:rPr lang="en-US" dirty="0" smtClean="0"/>
              <a:t>Quote text</a:t>
            </a:r>
          </a:p>
          <a:p>
            <a:pPr lvl="1"/>
            <a:r>
              <a:rPr lang="en-US" dirty="0" smtClean="0"/>
              <a:t>—</a:t>
            </a:r>
          </a:p>
          <a:p>
            <a:pPr lvl="2"/>
            <a:r>
              <a:rPr lang="en-US" dirty="0" smtClean="0"/>
              <a:t>Attribution first line</a:t>
            </a:r>
          </a:p>
          <a:p>
            <a:pPr lvl="3"/>
            <a:r>
              <a:rPr lang="en-US" dirty="0" smtClean="0"/>
              <a:t>Attribution continued</a:t>
            </a:r>
          </a:p>
        </p:txBody>
      </p:sp>
      <p:sp>
        <p:nvSpPr>
          <p:cNvPr id="4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00400" y="0"/>
            <a:ext cx="59436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35844" y="455612"/>
            <a:ext cx="2400925" cy="5932487"/>
          </a:xfrm>
        </p:spPr>
        <p:txBody>
          <a:bodyPr anchor="ctr" anchorCtr="1"/>
          <a:lstStyle>
            <a:lvl1pPr marL="5955" indent="-5955" algn="ctr">
              <a:spcBef>
                <a:spcPts val="0"/>
              </a:spcBef>
              <a:spcAft>
                <a:spcPts val="450"/>
              </a:spcAft>
              <a:tabLst/>
              <a:defRPr sz="2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001"/>
              </a:lnSpc>
              <a:spcBef>
                <a:spcPts val="0"/>
              </a:spcBef>
              <a:buFontTx/>
              <a:buNone/>
              <a:tabLst/>
              <a:defRPr sz="4051">
                <a:solidFill>
                  <a:schemeClr val="bg1"/>
                </a:solidFill>
              </a:defRPr>
            </a:lvl2pPr>
            <a:lvl3pPr marL="0" indent="0" algn="ctr">
              <a:lnSpc>
                <a:spcPts val="300"/>
              </a:lnSpc>
              <a:spcBef>
                <a:spcPts val="450"/>
              </a:spcBef>
              <a:buFontTx/>
              <a:buNone/>
              <a:tabLst/>
              <a:defRPr sz="105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/>
              <a:defRPr sz="105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Quote text</a:t>
            </a:r>
          </a:p>
          <a:p>
            <a:pPr lvl="1"/>
            <a:r>
              <a:rPr lang="en-US" dirty="0" smtClean="0"/>
              <a:t>—</a:t>
            </a:r>
          </a:p>
          <a:p>
            <a:pPr lvl="2"/>
            <a:r>
              <a:rPr lang="en-US" dirty="0" smtClean="0"/>
              <a:t>Attribution first line</a:t>
            </a:r>
          </a:p>
          <a:p>
            <a:pPr lvl="3"/>
            <a:r>
              <a:rPr lang="en-US" dirty="0" smtClean="0"/>
              <a:t>Attribution continued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388100"/>
            <a:ext cx="3027356" cy="4699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800" dirty="0" smtClean="0">
                <a:solidFill>
                  <a:srgbClr val="FFFFFF"/>
                </a:solidFill>
              </a:rPr>
              <a:t>©2017 </a:t>
            </a:r>
            <a:r>
              <a:rPr lang="tr-TR" sz="800" dirty="0" err="1" smtClean="0">
                <a:solidFill>
                  <a:srgbClr val="FFFFFF"/>
                </a:solidFill>
              </a:rPr>
              <a:t>Aetna</a:t>
            </a:r>
            <a:r>
              <a:rPr lang="tr-TR" sz="800" dirty="0" smtClean="0">
                <a:solidFill>
                  <a:srgbClr val="FFFFFF"/>
                </a:solidFill>
              </a:rPr>
              <a:t> </a:t>
            </a:r>
            <a:r>
              <a:rPr lang="tr-TR" sz="800" dirty="0" err="1" smtClean="0">
                <a:solidFill>
                  <a:srgbClr val="FFFFFF"/>
                </a:solidFill>
              </a:rPr>
              <a:t>Inc</a:t>
            </a:r>
            <a:r>
              <a:rPr lang="tr-TR" sz="800" dirty="0" smtClean="0">
                <a:solidFill>
                  <a:srgbClr val="FFFFFF"/>
                </a:solidFill>
              </a:rPr>
              <a:t>.</a:t>
            </a:r>
            <a:endParaRPr lang="tr-TR" sz="800" dirty="0">
              <a:solidFill>
                <a:srgbClr val="FFFFFF"/>
              </a:solidFill>
            </a:endParaRPr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6116425"/>
            <a:ext cx="9144000" cy="741575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38492" y="537510"/>
            <a:ext cx="8492416" cy="5199903"/>
          </a:xfrm>
        </p:spPr>
        <p:txBody>
          <a:bodyPr anchor="ctr"/>
          <a:lstStyle>
            <a:lvl1pPr algn="ctr">
              <a:lnSpc>
                <a:spcPct val="80000"/>
              </a:lnSpc>
              <a:defRPr sz="7202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1800"/>
              </a:spcBef>
              <a:buFontTx/>
              <a:buNone/>
              <a:defRPr sz="1400" b="0">
                <a:solidFill>
                  <a:schemeClr val="bg1"/>
                </a:solidFill>
                <a:latin typeface="+mn-lt"/>
                <a:cs typeface="Open Sans Light"/>
              </a:defRPr>
            </a:lvl2pPr>
          </a:lstStyle>
          <a:p>
            <a:pPr lvl="0"/>
            <a:r>
              <a:rPr lang="en-US" dirty="0"/>
              <a:t>Presentation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  <a:p>
            <a:pPr lvl="1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3095" y="6292904"/>
            <a:ext cx="926409" cy="232776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8303" y="6292904"/>
            <a:ext cx="926409" cy="232776"/>
          </a:xfrm>
          <a:prstGeom prst="rect">
            <a:avLst/>
          </a:prstGeom>
        </p:spPr>
      </p:pic>
      <p:pic>
        <p:nvPicPr>
          <p:cNvPr id="23" name="Picture 22" descr="Aetna_Logo_K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3060" y="2779939"/>
            <a:ext cx="960370" cy="32937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8325"/>
            <a:ext cx="509709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4400" b="1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78316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7722" y="6292904"/>
            <a:ext cx="926409" cy="232776"/>
          </a:xfrm>
          <a:prstGeom prst="rect">
            <a:avLst/>
          </a:prstGeom>
        </p:spPr>
      </p:pic>
      <p:pic>
        <p:nvPicPr>
          <p:cNvPr id="23" name="Picture 22" descr="Aetna_Logo_K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3060" y="2779939"/>
            <a:ext cx="960370" cy="32937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9392"/>
            <a:ext cx="5097090" cy="1280926"/>
          </a:xfrm>
        </p:spPr>
        <p:txBody>
          <a:bodyPr anchor="b"/>
          <a:lstStyle>
            <a:lvl1pPr algn="ctr">
              <a:lnSpc>
                <a:spcPct val="90000"/>
              </a:lnSpc>
              <a:defRPr sz="4400" b="1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3520727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 descr="Violet (transparent background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2353" y="6271500"/>
            <a:ext cx="947318" cy="252374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9392"/>
            <a:ext cx="509709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4400" b="1" i="0" cap="none" baseline="0">
                <a:solidFill>
                  <a:srgbClr val="7D3F98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7D3F98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78316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 descr="Violet (transparent background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6817" y="6271498"/>
            <a:ext cx="947318" cy="252374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8325"/>
            <a:ext cx="509709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4400" b="1" i="0" cap="none" baseline="0">
                <a:solidFill>
                  <a:srgbClr val="7D3F98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7D3F98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7D3F98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7D3F98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3520727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42990" y="455613"/>
            <a:ext cx="8458021" cy="5932487"/>
          </a:xfrm>
        </p:spPr>
        <p:txBody>
          <a:bodyPr anchor="ctr" anchorCtr="1"/>
          <a:lstStyle>
            <a:lvl1pPr marL="0" indent="0" algn="ctr">
              <a:buFontTx/>
              <a:buNone/>
              <a:tabLst>
                <a:tab pos="1201738" algn="l"/>
              </a:tabLst>
              <a:defRPr sz="72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1800"/>
              </a:spcBef>
              <a:buFontTx/>
              <a:buNone/>
              <a:tabLst>
                <a:tab pos="1201738" algn="l"/>
              </a:tabLst>
              <a:defRPr sz="140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ivider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2280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8511098" cy="731610"/>
          </a:xfrm>
        </p:spPr>
        <p:txBody>
          <a:bodyPr anchor="ctr"/>
          <a:lstStyle>
            <a:lvl1pPr>
              <a:defRPr sz="2400">
                <a:solidFill>
                  <a:srgbClr val="7D3F98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30325"/>
            <a:ext cx="8501697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57450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844" y="388063"/>
            <a:ext cx="8473504" cy="3840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90" y="1408181"/>
            <a:ext cx="8473504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</a:t>
            </a:r>
            <a:r>
              <a:rPr lang="en-US" dirty="0" smtClean="0"/>
              <a:t>master </a:t>
            </a:r>
            <a:r>
              <a:rPr lang="en-US" dirty="0"/>
              <a:t>text styles</a:t>
            </a:r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  <a:p>
            <a:pPr lvl="3"/>
            <a:r>
              <a:rPr lang="en-US" dirty="0" smtClean="0"/>
              <a:t>Fourth-level</a:t>
            </a:r>
            <a:endParaRPr lang="en-US" dirty="0"/>
          </a:p>
          <a:p>
            <a:pPr lvl="4"/>
            <a:r>
              <a:rPr lang="en-US" dirty="0" smtClean="0"/>
              <a:t>Fifth-level</a:t>
            </a:r>
            <a:endParaRPr lang="en-US" dirty="0"/>
          </a:p>
        </p:txBody>
      </p:sp>
      <p:pic>
        <p:nvPicPr>
          <p:cNvPr id="4" name="Picture 3" descr="Violet (transparent background).png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9279" y="6438813"/>
            <a:ext cx="473659" cy="126187"/>
          </a:xfrm>
          <a:prstGeom prst="rect">
            <a:avLst/>
          </a:prstGeom>
        </p:spPr>
      </p:pic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414141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3F3F3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414141"/>
              </a:solidFill>
              <a:latin typeface="Open Sans Light"/>
              <a:cs typeface="Open Sans Light"/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414141"/>
                </a:solidFill>
              </a:rPr>
              <a:t>Consumer Health &amp; Services</a:t>
            </a:r>
            <a:endParaRPr lang="en-US" sz="800" dirty="0">
              <a:solidFill>
                <a:srgbClr val="414141"/>
              </a:solidFill>
            </a:endParaRPr>
          </a:p>
        </p:txBody>
      </p:sp>
      <p:sp>
        <p:nvSpPr>
          <p:cNvPr id="7" name="Content Placeholder 8"/>
          <p:cNvSpPr txBox="1">
            <a:spLocks/>
          </p:cNvSpPr>
          <p:nvPr userDrawn="1"/>
        </p:nvSpPr>
        <p:spPr>
          <a:xfrm>
            <a:off x="3673762" y="6520677"/>
            <a:ext cx="1797668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 smtClean="0">
                <a:solidFill>
                  <a:schemeClr val="accent2"/>
                </a:solidFill>
              </a:rPr>
              <a:t>Strictly confidential</a:t>
            </a:r>
            <a:endParaRPr lang="en-US" sz="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458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59" r:id="rId1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983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accent2"/>
          </a:solidFill>
          <a:latin typeface="+mj-lt"/>
          <a:ea typeface="+mj-ea"/>
          <a:cs typeface="Open Sans Light"/>
        </a:defRPr>
      </a:lvl1pPr>
    </p:titleStyle>
    <p:bodyStyle>
      <a:lvl1pPr marL="0" indent="0" algn="l" defTabSz="685983" rtl="0" eaLnBrk="1" latinLnBrk="0" hangingPunct="1">
        <a:spcBef>
          <a:spcPts val="600"/>
        </a:spcBef>
        <a:spcAft>
          <a:spcPts val="0"/>
        </a:spcAft>
        <a:buClrTx/>
        <a:buFontTx/>
        <a:buNone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150059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2pPr>
      <a:lvl3pPr marL="298927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3pPr>
      <a:lvl4pPr marL="466849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4pPr>
      <a:lvl5pPr marL="604999" indent="-136959" algn="l" defTabSz="685983" rtl="0" eaLnBrk="1" latinLnBrk="0" hangingPunct="1">
        <a:spcBef>
          <a:spcPts val="6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5pPr>
      <a:lvl6pPr marL="1886453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44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7472" y="228600"/>
            <a:ext cx="8473504" cy="3840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0040" y="1325879"/>
            <a:ext cx="8473504" cy="48463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</a:t>
            </a:r>
            <a:r>
              <a:rPr lang="en-US" dirty="0" smtClean="0"/>
              <a:t>master </a:t>
            </a:r>
            <a:r>
              <a:rPr lang="en-US" dirty="0"/>
              <a:t>text styles</a:t>
            </a:r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  <a:p>
            <a:pPr lvl="3"/>
            <a:r>
              <a:rPr lang="en-US" dirty="0" smtClean="0"/>
              <a:t>Fourth-level</a:t>
            </a:r>
            <a:endParaRPr lang="en-US" dirty="0"/>
          </a:p>
          <a:p>
            <a:pPr lvl="4"/>
            <a:r>
              <a:rPr lang="en-US" dirty="0" smtClean="0"/>
              <a:t>Fifth-level</a:t>
            </a:r>
            <a:endParaRPr lang="en-US" dirty="0"/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414141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3F3F3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414141"/>
              </a:solidFill>
              <a:latin typeface="Open Sans Light"/>
              <a:cs typeface="Open Sans Light"/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414141"/>
                </a:solidFill>
              </a:rPr>
              <a:t>©2017 Aetna Inc.</a:t>
            </a:r>
            <a:endParaRPr lang="en-US" sz="800" dirty="0">
              <a:solidFill>
                <a:srgbClr val="414141"/>
              </a:solidFill>
            </a:endParaRPr>
          </a:p>
        </p:txBody>
      </p:sp>
      <p:sp>
        <p:nvSpPr>
          <p:cNvPr id="7" name="Content Placeholder 8"/>
          <p:cNvSpPr txBox="1">
            <a:spLocks/>
          </p:cNvSpPr>
          <p:nvPr userDrawn="1"/>
        </p:nvSpPr>
        <p:spPr>
          <a:xfrm>
            <a:off x="3535182" y="6418626"/>
            <a:ext cx="2631966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414141"/>
                </a:solidFill>
              </a:rPr>
              <a:t>Consumer Health &amp; Services – Strictly confidential</a:t>
            </a:r>
            <a:endParaRPr lang="en-US" sz="800" dirty="0">
              <a:solidFill>
                <a:srgbClr val="41414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8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983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accent2"/>
          </a:solidFill>
          <a:latin typeface="+mj-lt"/>
          <a:ea typeface="+mj-ea"/>
          <a:cs typeface="Open Sans Light"/>
        </a:defRPr>
      </a:lvl1pPr>
    </p:titleStyle>
    <p:bodyStyle>
      <a:lvl1pPr marL="0" indent="0" algn="l" defTabSz="685983" rtl="0" eaLnBrk="1" latinLnBrk="0" hangingPunct="1">
        <a:spcBef>
          <a:spcPts val="600"/>
        </a:spcBef>
        <a:spcAft>
          <a:spcPts val="0"/>
        </a:spcAft>
        <a:buClrTx/>
        <a:buFontTx/>
        <a:buNone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150059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2pPr>
      <a:lvl3pPr marL="298927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3pPr>
      <a:lvl4pPr marL="466849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4pPr>
      <a:lvl5pPr marL="604999" indent="-136959" algn="l" defTabSz="685983" rtl="0" eaLnBrk="1" latinLnBrk="0" hangingPunct="1">
        <a:spcBef>
          <a:spcPts val="6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5pPr>
      <a:lvl6pPr marL="1886453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44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3168" userDrawn="1">
          <p15:clr>
            <a:srgbClr val="F26B43"/>
          </p15:clr>
        </p15:guide>
        <p15:guide id="4" pos="2592" userDrawn="1">
          <p15:clr>
            <a:srgbClr val="F26B43"/>
          </p15:clr>
        </p15:guide>
        <p15:guide id="5" pos="2016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  <a:p>
            <a:pPr lvl="1"/>
            <a:r>
              <a:rPr lang="en-US" sz="2000" dirty="0"/>
              <a:t>Discussion document</a:t>
            </a:r>
          </a:p>
          <a:p>
            <a:pPr lvl="1"/>
            <a:r>
              <a:rPr lang="en-US" sz="2000" dirty="0"/>
              <a:t>Month </a:t>
            </a:r>
            <a:r>
              <a:rPr lang="en-US" sz="2000" dirty="0" smtClean="0"/>
              <a:t>YEAR</a:t>
            </a:r>
            <a:endParaRPr lang="en-US" sz="2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onsumer Healthcare &amp; Servic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Strictly confidentia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91440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4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91440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83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91440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32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55" t="1852" r="39445" b="81481"/>
          <a:stretch/>
        </p:blipFill>
        <p:spPr>
          <a:xfrm>
            <a:off x="3843867" y="1871132"/>
            <a:ext cx="2514600" cy="91440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4494" t="11114" r="4831" b="18521"/>
          <a:stretch/>
        </p:blipFill>
        <p:spPr>
          <a:xfrm>
            <a:off x="1557866" y="3031068"/>
            <a:ext cx="2277533" cy="643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64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s_Dividers">
  <a:themeElements>
    <a:clrScheme name="Custom 174">
      <a:dk1>
        <a:sysClr val="windowText" lastClr="000000"/>
      </a:dk1>
      <a:lt1>
        <a:srgbClr val="FFFFFF"/>
      </a:lt1>
      <a:dk2>
        <a:srgbClr val="414141"/>
      </a:dk2>
      <a:lt2>
        <a:srgbClr val="C2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AA0061"/>
      </a:accent5>
      <a:accent6>
        <a:srgbClr val="D20962"/>
      </a:accent6>
      <a:hlink>
        <a:srgbClr val="293BE5"/>
      </a:hlink>
      <a:folHlink>
        <a:srgbClr val="B2B2B2"/>
      </a:folHlink>
    </a:clrScheme>
    <a:fontScheme name="Open Sans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latin typeface="Open Sans Light"/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_05_03_Aetna_Violet_4x3_WIP" id="{A464F6EA-3DE4-DC44-96E5-A1E88D6C5DE4}" vid="{CA56EE30-4707-D943-84E1-3F06DB138E8B}"/>
    </a:ext>
  </a:extLst>
</a:theme>
</file>

<file path=ppt/theme/theme2.xml><?xml version="1.0" encoding="utf-8"?>
<a:theme xmlns:a="http://schemas.openxmlformats.org/drawingml/2006/main" name="No Logo Theme">
  <a:themeElements>
    <a:clrScheme name="Custom 174">
      <a:dk1>
        <a:sysClr val="windowText" lastClr="000000"/>
      </a:dk1>
      <a:lt1>
        <a:srgbClr val="FFFFFF"/>
      </a:lt1>
      <a:dk2>
        <a:srgbClr val="414141"/>
      </a:dk2>
      <a:lt2>
        <a:srgbClr val="C2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AA0061"/>
      </a:accent5>
      <a:accent6>
        <a:srgbClr val="D20962"/>
      </a:accent6>
      <a:hlink>
        <a:srgbClr val="293BE5"/>
      </a:hlink>
      <a:folHlink>
        <a:srgbClr val="B2B2B2"/>
      </a:folHlink>
    </a:clrScheme>
    <a:fontScheme name="Open Sans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latin typeface="Open Sans Light"/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_05_03_Aetna_Violet_4x3_WIP" id="{A464F6EA-3DE4-DC44-96E5-A1E88D6C5DE4}" vid="{16D30BA7-3E52-7746-AD7B-81AEAABFAC0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9</TotalTime>
  <Words>11</Words>
  <Application>Microsoft Office PowerPoint</Application>
  <PresentationFormat>On-screen Show (4:3)</PresentationFormat>
  <Paragraphs>5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Calibri</vt:lpstr>
      <vt:lpstr>Domaine Display Bold</vt:lpstr>
      <vt:lpstr>Lucida Grande</vt:lpstr>
      <vt:lpstr>Open Sans</vt:lpstr>
      <vt:lpstr>Open Sans Bold</vt:lpstr>
      <vt:lpstr>Open Sans Light</vt:lpstr>
      <vt:lpstr>Covers_Dividers</vt:lpstr>
      <vt:lpstr>No Logo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Aetn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ngh, Shatrunjai P</dc:creator>
  <cp:lastModifiedBy>Singh, Shatrunjai P</cp:lastModifiedBy>
  <cp:revision>6</cp:revision>
  <cp:lastPrinted>2017-05-03T20:31:01Z</cp:lastPrinted>
  <dcterms:created xsi:type="dcterms:W3CDTF">2018-09-03T03:33:38Z</dcterms:created>
  <dcterms:modified xsi:type="dcterms:W3CDTF">2018-09-03T05:13:14Z</dcterms:modified>
</cp:coreProperties>
</file>